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925112976113627E-3"/>
          <c:y val="6.8149717514124297E-2"/>
          <c:w val="0.98321497740477726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64E-4F5C-9851-A5B96A2965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64E-4F5C-9851-A5B96A2965F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64E-4F5C-9851-A5B96A2965F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64E-4F5C-9851-A5B96A2965F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64E-4F5C-9851-A5B96A2965F9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64E-4F5C-9851-A5B96A2965F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64E-4F5C-9851-A5B96A2965F9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64E-4F5C-9851-A5B96A2965F9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64E-4F5C-9851-A5B96A2965F9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64E-4F5C-9851-A5B96A2965F9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64E-4F5C-9851-A5B96A2965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64E-4F5C-9851-A5B96A2965F9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364E-4F5C-9851-A5B96A2965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364E-4F5C-9851-A5B96A2965F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364E-4F5C-9851-A5B96A2965F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364E-4F5C-9851-A5B96A2965F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364E-4F5C-9851-A5B96A2965F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364E-4F5C-9851-A5B96A2965F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64E-4F5C-9851-A5B96A2965F9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364E-4F5C-9851-A5B96A2965F9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364E-4F5C-9851-A5B96A2965F9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64E-4F5C-9851-A5B96A2965F9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364E-4F5C-9851-A5B96A2965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364E-4F5C-9851-A5B96A296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3701520"/>
        <c:axId val="1"/>
      </c:barChart>
      <c:catAx>
        <c:axId val="313701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3701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E476B2-5444-46A7-AAA3-476E9E5422D4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58957-D6D0-487C-969D-6DF9502A29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98706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370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37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331034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890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71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3413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64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369412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34" Type="http://schemas.openxmlformats.org/officeDocument/2006/relationships/notesSlide" Target="../notesSlides/notesSlide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chart" Target="../charts/char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image" Target="../media/image5.emf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oleObject" Target="../embeddings/oleObject5.bin"/><Relationship Id="rId8" Type="http://schemas.openxmlformats.org/officeDocument/2006/relationships/tags" Target="../tags/tag11.xml"/><Relationship Id="rId3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35" imgW="360" imgH="360" progId="TCLayout.ActiveDocument.1">
                  <p:embed/>
                </p:oleObj>
              </mc:Choice>
              <mc:Fallback>
                <p:oleObj name="think-cell 幻灯片" r:id="rId35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E32AF0D8-13A7-4C04-83CA-EBB67C5F22FA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20675" y="1258888"/>
          <a:ext cx="9836150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E3D9A98-28EA-B071-6500-7C71C2FA0B5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597525" y="4816475"/>
            <a:ext cx="5159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5468224-5BCB-DDBB-4532-3E35DB1FF4C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511926" y="4816475"/>
            <a:ext cx="6651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15CB885-05CA-433D-5F1C-04352EE2E2E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597776" y="4816475"/>
            <a:ext cx="6461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9EEE8B-E0B6-3C6F-46D8-4A7AC42E89B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680450" y="4816475"/>
            <a:ext cx="1436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86335384-7B0B-3A04-489F-30A4843307D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821737" y="4103688"/>
            <a:ext cx="129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B93F838-0869-8D49-C07F-C02E85C9C0F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10074275" y="4100513"/>
            <a:ext cx="0" cy="7191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9613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784350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2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857500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\3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322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\4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0697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5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088063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\6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1548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7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231188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8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04338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理想品牌字体 2022"/>
              </a:rPr>
              <a:t>{year_9}</a:t>
            </a:r>
            <a:endParaRPr lang="en-US" altLang="zh-CN" sz="1400" dirty="0">
              <a:solidFill>
                <a:srgbClr val="000000"/>
              </a:solidFill>
              <a:latin typeface="理想品牌字体 2022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7550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_total_numberf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822451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2_total_numberf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889250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3_total_numberf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9449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4_total_numberf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018088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69FEE4-1B5C-4279-8654-005BE2456449}" type="datetime'''''''''''5''''''''''''''''''0''''''''''''''''''''.''''''9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9</a:t>
            </a:fld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5_total_numberf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094413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6_total_numberf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16915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7_total_numberf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256588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8_total_numberf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326563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</a:t>
            </a:r>
            <a:r>
              <a:rPr lang="en-US" altLang="en-US" sz="1400">
                <a:solidFill>
                  <a:srgbClr val="F2F2F2">
                    <a:lumMod val="10000"/>
                  </a:srgbClr>
                </a:solidFill>
              </a:rPr>
              <a:t>year_9_</a:t>
            </a: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total_numberf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164763" y="4008438"/>
            <a:ext cx="1257300" cy="90328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growth_rate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DDAC2256-81DC-EF3A-5F34-0BB9D376276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331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s, stacked, column, columns, bar, bars, think-cell, chart, charts, graph, graph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15A5248-06CA-5684-D1FE-510E78ABB96B}"/>
              </a:ext>
            </a:extLst>
          </p:cNvPr>
          <p:cNvSpPr txBox="1">
            <a:spLocks/>
          </p:cNvSpPr>
          <p:nvPr/>
        </p:nvSpPr>
        <p:spPr>
          <a:xfrm>
            <a:off x="403730" y="886115"/>
            <a:ext cx="9588629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ontent}</a:t>
            </a:r>
          </a:p>
        </p:txBody>
      </p:sp>
      <p:sp>
        <p:nvSpPr>
          <p:cNvPr id="12" name="Rectangle 18">
            <a:extLst>
              <a:ext uri="{FF2B5EF4-FFF2-40B4-BE49-F238E27FC236}">
                <a16:creationId xmlns:a16="http://schemas.microsoft.com/office/drawing/2014/main" id="{8BBED08B-7E7C-DBCE-DE94-88FEC2B154AA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1410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zeaWm6kDu.YdcIhEoZ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kA_4nUNsElLp2n9ySK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CEZq9XIiozJMoxFSVP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m6rKbtCo7Z4ys4hWvi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4ETkwbtyHIPy3xqd5n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LRzb_m5MHrV46qsyaZ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fmPzHtIcE2C.Z5qCyMG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65</Words>
  <Application>Microsoft Office PowerPoint</Application>
  <PresentationFormat>宽屏</PresentationFormat>
  <Paragraphs>4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3:47:45Z</dcterms:created>
  <dcterms:modified xsi:type="dcterms:W3CDTF">2025-09-09T03:50:09Z</dcterms:modified>
</cp:coreProperties>
</file>